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91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9/09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9/09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0002_f_remaining_energy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0002_remaining_energy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algn="just"/>
            <a:r>
              <a:rPr lang="en-US" dirty="0"/>
              <a:t>This function calculates the remaining energy of a car after a frontal crash.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4500679A-62BB-4086-A9F3-A01BEC895DAD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6550" y="1389856"/>
            <a:ext cx="3771900" cy="4448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/>
              <a:t>M0002_remaining_energy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ss of the c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Sp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ces and deformations during the cras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/>
                          </m:ctrlPr>
                        </m:sSubPr>
                        <m:e>
                          <m:r>
                            <a:rPr lang="en-GB" i="1"/>
                            <m:t>𝐸</m:t>
                          </m:r>
                        </m:e>
                        <m:sub>
                          <m:r>
                            <a:rPr lang="en-GB" i="1"/>
                            <m:t>𝑟𝑒𝑚</m:t>
                          </m:r>
                        </m:sub>
                      </m:sSub>
                      <m:r>
                        <a:rPr lang="en-GB" i="1"/>
                        <m:t>=</m:t>
                      </m:r>
                      <m:f>
                        <m:fPr>
                          <m:ctrlPr>
                            <a:rPr lang="de-DE" i="1"/>
                          </m:ctrlPr>
                        </m:fPr>
                        <m:num>
                          <m:r>
                            <a:rPr lang="en-GB" i="1"/>
                            <m:t>𝑚</m:t>
                          </m:r>
                        </m:num>
                        <m:den>
                          <m:r>
                            <a:rPr lang="en-GB" i="1"/>
                            <m:t>2</m:t>
                          </m:r>
                        </m:den>
                      </m:f>
                      <m:sSubSup>
                        <m:sSubSupPr>
                          <m:ctrlPr>
                            <a:rPr lang="de-DE" i="1"/>
                          </m:ctrlPr>
                        </m:sSubSupPr>
                        <m:e>
                          <m:r>
                            <a:rPr lang="en-GB" i="1"/>
                            <m:t>𝑣</m:t>
                          </m:r>
                        </m:e>
                        <m:sub>
                          <m:r>
                            <a:rPr lang="en-GB" i="1"/>
                            <m:t>0</m:t>
                          </m:r>
                        </m:sub>
                        <m:sup>
                          <m:r>
                            <a:rPr lang="en-GB" i="1"/>
                            <m:t>2</m:t>
                          </m:r>
                        </m:sup>
                      </m:sSubSup>
                      <m:r>
                        <a:rPr lang="en-GB" i="1"/>
                        <m:t>−</m:t>
                      </m:r>
                      <m:d>
                        <m:dPr>
                          <m:ctrlPr>
                            <a:rPr lang="de-DE" i="1"/>
                          </m:ctrlPr>
                        </m:dPr>
                        <m:e>
                          <m:sSub>
                            <m:sSubPr>
                              <m:ctrlPr>
                                <a:rPr lang="de-DE" i="1"/>
                              </m:ctrlPr>
                            </m:sSubPr>
                            <m:e>
                              <m:r>
                                <a:rPr lang="en-GB" i="1"/>
                                <m:t>𝐹</m:t>
                              </m:r>
                            </m:e>
                            <m:sub>
                              <m:r>
                                <a:rPr lang="en-GB" i="1"/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/>
                              </m:ctrlPr>
                            </m:sSubPr>
                            <m:e>
                              <m:r>
                                <a:rPr lang="en-GB" i="1"/>
                                <m:t>𝑑</m:t>
                              </m:r>
                            </m:e>
                            <m:sub>
                              <m:r>
                                <a:rPr lang="en-GB" i="1"/>
                                <m:t>1</m:t>
                              </m:r>
                              <m:r>
                                <a:rPr lang="en-GB" i="1"/>
                                <m:t>𝑐</m:t>
                              </m:r>
                            </m:sub>
                          </m:sSub>
                          <m:r>
                            <a:rPr lang="en-GB" i="1"/>
                            <m:t>+</m:t>
                          </m:r>
                          <m:sSub>
                            <m:sSubPr>
                              <m:ctrlPr>
                                <a:rPr lang="de-DE" i="1"/>
                              </m:ctrlPr>
                            </m:sSubPr>
                            <m:e>
                              <m:r>
                                <a:rPr lang="en-GB" i="1"/>
                                <m:t>𝐹</m:t>
                              </m:r>
                            </m:e>
                            <m:sub>
                              <m:r>
                                <a:rPr lang="en-GB" i="1"/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/>
                              </m:ctrlPr>
                            </m:sSubPr>
                            <m:e>
                              <m:r>
                                <a:rPr lang="en-GB" i="1"/>
                                <m:t>𝑑</m:t>
                              </m:r>
                            </m:e>
                            <m:sub>
                              <m:r>
                                <a:rPr lang="en-GB" i="1"/>
                                <m:t>2</m:t>
                              </m:r>
                              <m:r>
                                <a:rPr lang="en-GB" i="1"/>
                                <m:t>𝑐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dirty="0"/>
              </a:p>
              <a:p>
                <a:pPr algn="ctr"/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A4-Papier (210 x 297 mm)</PresentationFormat>
  <Paragraphs>10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Produktentwicklung Templates</vt:lpstr>
      <vt:lpstr>M0002_remaining_energy</vt:lpstr>
      <vt:lpstr>M0002_remaining_energ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25</cp:revision>
  <dcterms:created xsi:type="dcterms:W3CDTF">2020-02-28T15:45:41Z</dcterms:created>
  <dcterms:modified xsi:type="dcterms:W3CDTF">2020-09-29T06:41:39Z</dcterms:modified>
</cp:coreProperties>
</file>